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84" d="100"/>
          <a:sy n="84" d="100"/>
        </p:scale>
        <p:origin x="-1116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25777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674026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857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7486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4232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91711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25483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3610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012921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523792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66908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488413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725066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July 2014</a:t>
            </a:fld>
            <a:r>
              <a:rPr lang="en-GB" smtClean="0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223242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duce </a:t>
            </a:r>
            <a:r>
              <a:rPr lang="en-US" dirty="0"/>
              <a:t>risk of bottle pollution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0" y="1329270"/>
            <a:ext cx="7997825" cy="307777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fr-FR" dirty="0" smtClean="0"/>
              <a:t>Air filtration on oven</a:t>
            </a:r>
            <a:endParaRPr lang="en-US" altLang="fr-FR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r>
              <a:rPr lang="en-US" dirty="0">
                <a:solidFill>
                  <a:srgbClr val="000000"/>
                </a:solidFill>
              </a:rPr>
              <a:t>Value: </a:t>
            </a:r>
            <a:r>
              <a:rPr lang="en-US" dirty="0" smtClean="0">
                <a:solidFill>
                  <a:srgbClr val="000000"/>
                </a:solidFill>
              </a:rPr>
              <a:t>Product Quality</a:t>
            </a:r>
            <a:endParaRPr lang="en-US" dirty="0">
              <a:solidFill>
                <a:srgbClr val="000000"/>
              </a:solidFill>
            </a:endParaRPr>
          </a:p>
          <a:p>
            <a:r>
              <a:rPr lang="en-US" dirty="0">
                <a:solidFill>
                  <a:srgbClr val="000000"/>
                </a:solidFill>
              </a:rPr>
              <a:t>Equipment: </a:t>
            </a:r>
            <a:r>
              <a:rPr lang="en-US" dirty="0" smtClean="0">
                <a:solidFill>
                  <a:srgbClr val="000000"/>
                </a:solidFill>
              </a:rPr>
              <a:t>Series </a:t>
            </a:r>
            <a:r>
              <a:rPr lang="en-US" dirty="0">
                <a:solidFill>
                  <a:srgbClr val="000000"/>
                </a:solidFill>
              </a:rPr>
              <a:t>2 blowers </a:t>
            </a:r>
            <a:r>
              <a:rPr lang="en-US" dirty="0" smtClean="0">
                <a:solidFill>
                  <a:srgbClr val="000000"/>
                </a:solidFill>
              </a:rPr>
              <a:t>(SBO </a:t>
            </a:r>
            <a:r>
              <a:rPr lang="en-US" dirty="0">
                <a:solidFill>
                  <a:srgbClr val="000000"/>
                </a:solidFill>
              </a:rPr>
              <a:t>2/3 - SBO 4/4 - SBO 4/6 - SBO 6/6 - SBO 6/10 - SBO 10FL - SBO 10/10 - SBO 10/14 - SBO 16 - SBO 24/24 - SBO </a:t>
            </a:r>
            <a:r>
              <a:rPr lang="en-US" dirty="0" smtClean="0">
                <a:solidFill>
                  <a:srgbClr val="000000"/>
                </a:solidFill>
              </a:rPr>
              <a:t>32/26)</a:t>
            </a:r>
            <a:endParaRPr lang="en-US" dirty="0">
              <a:solidFill>
                <a:srgbClr val="000000"/>
              </a:solidFill>
            </a:endParaRPr>
          </a:p>
          <a:p>
            <a:r>
              <a:rPr lang="en-US" dirty="0">
                <a:solidFill>
                  <a:srgbClr val="000000"/>
                </a:solidFill>
              </a:rPr>
              <a:t>Catalogue code: </a:t>
            </a:r>
            <a:r>
              <a:rPr lang="en-US" dirty="0" smtClean="0">
                <a:solidFill>
                  <a:srgbClr val="000000"/>
                </a:solidFill>
              </a:rPr>
              <a:t>556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8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653650"/>
              </p:ext>
            </p:extLst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/>
                <a:gridCol w="244900"/>
                <a:gridCol w="3877200"/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 smtClean="0"/>
                        <a:t>This option installed in the oven, allows a filtration of the air being used for distribution of the preforms as well as cooling of the lamps, avoiding particles deposit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n-US" sz="1200" b="0" dirty="0" smtClean="0"/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is option consists in installing gravimetric filters on the ventilators positioned under the oven; as well as filter cartridges on the ventilators being used for the infra-red cooling of the lamps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9" name="Picture 22" descr="556_serie%202_a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6420" y="3861047"/>
            <a:ext cx="3312368" cy="1208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8290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</TotalTime>
  <Words>123</Words>
  <Application>Microsoft Office PowerPoint</Application>
  <PresentationFormat>Affichage à l'écran (4:3)</PresentationFormat>
  <Paragraphs>9</Paragraphs>
  <Slides>1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3" baseType="lpstr">
      <vt:lpstr>16_Sidel Template 2013</vt:lpstr>
      <vt:lpstr>think-cell Folie</vt:lpstr>
      <vt:lpstr>Reduce risk of bottle pollution </vt:lpstr>
    </vt:vector>
  </TitlesOfParts>
  <Company>Side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cover up to 40% of blowing air</dc:title>
  <dc:creator>Gouriou, Lydie</dc:creator>
  <cp:lastModifiedBy>Gouriou, Lydie</cp:lastModifiedBy>
  <cp:revision>2</cp:revision>
  <dcterms:created xsi:type="dcterms:W3CDTF">2014-07-16T11:37:50Z</dcterms:created>
  <dcterms:modified xsi:type="dcterms:W3CDTF">2014-07-16T11:46:09Z</dcterms:modified>
</cp:coreProperties>
</file>